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749" r:id="rId2"/>
    <p:sldId id="1288" r:id="rId3"/>
    <p:sldId id="1181" r:id="rId4"/>
    <p:sldId id="1274" r:id="rId5"/>
    <p:sldId id="1242" r:id="rId6"/>
    <p:sldId id="1275" r:id="rId7"/>
    <p:sldId id="1276" r:id="rId8"/>
    <p:sldId id="1280" r:id="rId9"/>
    <p:sldId id="1278" r:id="rId10"/>
    <p:sldId id="1279" r:id="rId11"/>
  </p:sldIdLst>
  <p:sldSz cx="8961438" cy="6721475"/>
  <p:notesSz cx="7010400" cy="92964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6">
          <p15:clr>
            <a:srgbClr val="A4A3A4"/>
          </p15:clr>
        </p15:guide>
        <p15:guide id="2" pos="2953">
          <p15:clr>
            <a:srgbClr val="A4A3A4"/>
          </p15:clr>
        </p15:guide>
        <p15:guide id="3" orient="horz" pos="32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  <p15:guide id="5" orient="horz" pos="3100">
          <p15:clr>
            <a:srgbClr val="A4A3A4"/>
          </p15:clr>
        </p15:guide>
        <p15:guide id="6" orient="horz" pos="2909">
          <p15:clr>
            <a:srgbClr val="A4A3A4"/>
          </p15:clr>
        </p15:guide>
        <p15:guide id="7" orient="horz" pos="3140">
          <p15:clr>
            <a:srgbClr val="A4A3A4"/>
          </p15:clr>
        </p15:guide>
        <p15:guide id="8" orient="horz" pos="294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 Tsai" initials="DT" lastIdx="7" clrIdx="0"/>
  <p:cmAuthor id="1" name="Carolyn Sharzer" initials="CBS" lastIdx="6" clrIdx="1"/>
  <p:cmAuthor id="2" name=" Dorothée Alsentzer" initials="DA" lastIdx="2" clrIdx="2"/>
  <p:cmAuthor id="3" name="MGoody" initials="MG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2F2F2"/>
    <a:srgbClr val="002960"/>
    <a:srgbClr val="005183"/>
    <a:srgbClr val="CBDB2A"/>
    <a:srgbClr val="808080"/>
    <a:srgbClr val="0065CC"/>
    <a:srgbClr val="91A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 autoAdjust="0"/>
    <p:restoredTop sz="96454" autoAdjust="0"/>
  </p:normalViewPr>
  <p:slideViewPr>
    <p:cSldViewPr snapToGrid="0">
      <p:cViewPr varScale="1">
        <p:scale>
          <a:sx n="81" d="100"/>
          <a:sy n="81" d="100"/>
        </p:scale>
        <p:origin x="304" y="64"/>
      </p:cViewPr>
      <p:guideLst>
        <p:guide orient="horz" pos="2906"/>
        <p:guide pos="2953"/>
        <p:guide orient="horz" pos="32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2346" y="-120"/>
      </p:cViewPr>
      <p:guideLst>
        <p:guide orient="horz" pos="3120"/>
        <p:guide pos="2124"/>
        <p:guide orient="horz" pos="2928"/>
        <p:guide pos="2208"/>
        <p:guide orient="horz" pos="3100"/>
        <p:guide orient="horz" pos="2909"/>
        <p:guide orient="horz" pos="3140"/>
        <p:guide orient="horz" pos="294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7" y="4995329"/>
            <a:ext cx="6043334" cy="1239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07" y="95092"/>
            <a:ext cx="65" cy="123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1" y="8366473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337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13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747839"/>
            <a:ext cx="5299441" cy="492443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latin typeface="+mn-lt"/>
              </a:rPr>
              <a:pPr lvl="0"/>
              <a:t>‹#›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4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67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2D0F0AF-0A69-4E02-9A9C-06A55AF1571E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2818042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229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778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7495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992060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6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594" y="6036921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81013" algn="l"/>
                  <a:tab pos="665163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36609" y="649173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07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37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05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70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70" r:id="rId6"/>
    <p:sldLayoutId id="2147483671" r:id="rId7"/>
  </p:sldLayoutIdLst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mailto:HCBSWaivers@mass.gov" TargetMode="Externa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info-details/home-and-community-based-services-waiver-renewal-and-amendment-applications-public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mailto:HCBSWaivers@mass.gov" TargetMode="Externa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675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626049"/>
            <a:ext cx="5724058" cy="492443"/>
          </a:xfrm>
        </p:spPr>
        <p:txBody>
          <a:bodyPr/>
          <a:lstStyle/>
          <a:p>
            <a:r>
              <a:rPr lang="en-US" b="1" dirty="0"/>
              <a:t>EOHHS Listening Session</a:t>
            </a:r>
          </a:p>
        </p:txBody>
      </p:sp>
      <p:sp>
        <p:nvSpPr>
          <p:cNvPr id="14" name="Date"/>
          <p:cNvSpPr txBox="1">
            <a:spLocks noChangeArrowheads="1"/>
          </p:cNvSpPr>
          <p:nvPr/>
        </p:nvSpPr>
        <p:spPr bwMode="auto">
          <a:xfrm>
            <a:off x="2640013" y="5678034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solidFill>
                  <a:schemeClr val="tx2"/>
                </a:solidFill>
                <a:latin typeface="+mn-lt"/>
              </a:rPr>
              <a:t>March 17, 2021</a:t>
            </a:r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083215" y="3181351"/>
            <a:ext cx="2083214" cy="427766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181350"/>
            <a:ext cx="2083214" cy="427766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08421" y="3182209"/>
            <a:ext cx="5153017" cy="427766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2" y="1989199"/>
            <a:ext cx="2033903" cy="2033903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54"/>
          <p:cNvSpPr txBox="1">
            <a:spLocks noChangeArrowheads="1"/>
          </p:cNvSpPr>
          <p:nvPr/>
        </p:nvSpPr>
        <p:spPr bwMode="auto">
          <a:xfrm>
            <a:off x="2640012" y="4017861"/>
            <a:ext cx="632142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/>
                </a:solidFill>
              </a:rPr>
              <a:t>Home and Community Based Services (HCBS) Waiver Amendment Application:</a:t>
            </a:r>
          </a:p>
          <a:p>
            <a:r>
              <a:rPr lang="en-US" sz="2400" kern="0" dirty="0">
                <a:solidFill>
                  <a:schemeClr val="tx1"/>
                </a:solidFill>
              </a:rPr>
              <a:t>Traumatic Brain Injury Waiver</a:t>
            </a:r>
          </a:p>
        </p:txBody>
      </p:sp>
    </p:spTree>
    <p:extLst>
      <p:ext uri="{BB962C8B-B14F-4D97-AF65-F5344CB8AC3E}">
        <p14:creationId xmlns:p14="http://schemas.microsoft.com/office/powerpoint/2010/main" val="33691607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203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Public Comment: </a:t>
            </a:r>
            <a:br>
              <a:rPr lang="en-US" sz="2400" dirty="0"/>
            </a:br>
            <a:r>
              <a:rPr lang="en-US" sz="2400" dirty="0"/>
              <a:t>Oral Comment at Today’s Listening Session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86603" y="1447800"/>
            <a:ext cx="8420669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Share your input with us today</a:t>
            </a:r>
          </a:p>
          <a:p>
            <a:pPr lvl="2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Please state your name and affiliation (e.g., waiver participant, family member, waiver service provider, etc.)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Oral comment at today’s session does </a:t>
            </a:r>
            <a:r>
              <a:rPr lang="en-US" altLang="en-US" sz="2000" b="1" dirty="0"/>
              <a:t>not</a:t>
            </a:r>
            <a:r>
              <a:rPr lang="en-US" altLang="en-US" sz="2000" dirty="0"/>
              <a:t> need to be submitted in writing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If you wish to provide comments but are unable to do so during today’s session, please email your comments to </a:t>
            </a:r>
            <a:r>
              <a:rPr lang="en-US" altLang="en-US" sz="2000" dirty="0">
                <a:hlinkClick r:id="rId7"/>
              </a:rPr>
              <a:t>HCBSWaivers@mass.gov</a:t>
            </a:r>
            <a:r>
              <a:rPr lang="en-US" altLang="en-US" sz="2000" dirty="0"/>
              <a:t> (Please state “TBI Comments” in the subject line) by </a:t>
            </a:r>
            <a:r>
              <a:rPr lang="en-US" altLang="en-US" sz="2000" b="1" dirty="0"/>
              <a:t>April 1, 2021. </a:t>
            </a:r>
          </a:p>
          <a:p>
            <a:pPr marL="1587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endParaRPr lang="en-US" altLang="en-US" sz="2000" b="1" i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1587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000" b="1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222336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950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Webex/Conference Call Logistics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191069" y="874584"/>
            <a:ext cx="8611737" cy="578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 dirty="0"/>
              <a:t>To avoid echo, background noise, and disruptive feedback on this call, </a:t>
            </a:r>
            <a:r>
              <a:rPr lang="en-US" altLang="en-US" sz="2400" b="1" dirty="0"/>
              <a:t>please place yourself on MUTE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/>
              <a:t>In Webex, find the microphone icon and click to MUTE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/>
              <a:t>			- Or - </a:t>
            </a:r>
            <a:endParaRPr lang="en-US" altLang="en-US" sz="1500" dirty="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 dirty="0"/>
              <a:t>On your telephone, use the MUTE function </a:t>
            </a:r>
          </a:p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 dirty="0"/>
              <a:t>If you would like to speak after our brief presentation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/>
              <a:t>In Webex, use the “raise hand” or chat function to alert moderator that you wish to speak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/>
              <a:t>			- Or - </a:t>
            </a:r>
            <a:endParaRPr lang="en-US" altLang="en-US" sz="1500" dirty="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 dirty="0"/>
              <a:t>On your telephone, briefly unmute yourself and let us know you wish to speak</a:t>
            </a:r>
          </a:p>
          <a:p>
            <a:pPr marL="1587" lvl="1" indent="0" algn="ctr" eaLnBrk="1" hangingPunct="1">
              <a:spcBef>
                <a:spcPct val="50000"/>
              </a:spcBef>
              <a:spcAft>
                <a:spcPts val="600"/>
              </a:spcAft>
              <a:buNone/>
            </a:pPr>
            <a:r>
              <a:rPr lang="en-US" altLang="en-US" sz="2400" b="1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311341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427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3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Agenda 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gray">
          <a:xfrm>
            <a:off x="892131" y="2012999"/>
            <a:ext cx="7177177" cy="306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dirty="0"/>
              <a:t> Introductions 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dirty="0"/>
              <a:t> Overview of Waiver Amendment 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b="0" dirty="0"/>
              <a:t> Process &amp; Timeline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dirty="0"/>
              <a:t> Public Comments</a:t>
            </a:r>
          </a:p>
        </p:txBody>
      </p:sp>
    </p:spTree>
    <p:extLst>
      <p:ext uri="{BB962C8B-B14F-4D97-AF65-F5344CB8AC3E}">
        <p14:creationId xmlns:p14="http://schemas.microsoft.com/office/powerpoint/2010/main" val="485598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341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Common Acronyms and Term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902010"/>
              </p:ext>
            </p:extLst>
          </p:nvPr>
        </p:nvGraphicFramePr>
        <p:xfrm>
          <a:off x="439244" y="1299050"/>
          <a:ext cx="8082950" cy="274320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1837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45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C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Centers for Medicare</a:t>
                      </a:r>
                      <a:r>
                        <a:rPr lang="en-US" sz="2200" baseline="0" dirty="0"/>
                        <a:t> and Medicaid Services</a:t>
                      </a:r>
                      <a:endParaRPr lang="en-US" sz="2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EOHH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ive Office of Health and Human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HCB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Home and Community Based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MassHeal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The Massachusetts Medicaid Progra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MR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Massachusetts Rehabilitation Commission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941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427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1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711" y="341242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Overview: </a:t>
            </a:r>
            <a:r>
              <a:rPr lang="en-US" altLang="en-US" sz="2400" dirty="0"/>
              <a:t>Massachusetts is amending the </a:t>
            </a:r>
            <a:r>
              <a:rPr lang="en-US" sz="2400" dirty="0"/>
              <a:t>Traumatic Brain Injury Waiver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50160" y="1593619"/>
            <a:ext cx="8574664" cy="4278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CMS typically approves Home and Community Based Services waivers for a period of five years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Changes to an approved waiver must be submitted to CMS in the form of a Request for an Amendment. 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MassHealth and MRC jointly developed the amended application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The draft waiver amendment application is posted for a 30-day public comment period that ends on April 1, 2021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Today we are holding a listening session to hear public comment about the amended application. </a:t>
            </a:r>
            <a:endParaRPr lang="en-US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85598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1738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134" y="385451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Summary of Changes to Waiver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gray">
          <a:xfrm>
            <a:off x="238080" y="988570"/>
            <a:ext cx="8485278" cy="5570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000" dirty="0"/>
              <a:t>The purpose of this amendment is to address certain needs of the population served by this waiver that were identified during the COVID-19 emergency and that are anticipated to continue beyond the public health emergency.</a:t>
            </a:r>
            <a:endParaRPr lang="en-US" sz="2000" dirty="0">
              <a:solidFill>
                <a:srgbClr val="FF0000"/>
              </a:solidFill>
            </a:endParaRP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</a:rPr>
              <a:t>E</a:t>
            </a:r>
            <a:r>
              <a:rPr lang="en-US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xpands the scope of the existing Specialized Medical Equipment waiver service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xpands the scope of the existing Transitional Assistance waiver service</a:t>
            </a:r>
            <a:r>
              <a:rPr lang="en-US" sz="2000" dirty="0"/>
              <a:t>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dates the Adult Companion and Individual Support and Community Habilitation (ISCH) provider qualifications and adds a new rate regulation for ISCH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</a:rPr>
              <a:t>Revises the existing waiver service, Day Services, by adding a new provider type, updating the service definition, and adding new rates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728411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836766" y="2332020"/>
            <a:ext cx="7289801" cy="79255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hlink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 rtlCol="0" anchor="ctr"/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879476" y="1386933"/>
            <a:ext cx="7324725" cy="4985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MRC and MassHealth collaborate to identify updates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Gather public input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Review public comments and make additional revisions to amended application where appropriate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Request CMS approval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Implement updates when waiver amendment  authorization period begins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0901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Process: HCBS Waiver Amendment</a:t>
            </a:r>
          </a:p>
        </p:txBody>
      </p:sp>
    </p:spTree>
    <p:extLst>
      <p:ext uri="{BB962C8B-B14F-4D97-AF65-F5344CB8AC3E}">
        <p14:creationId xmlns:p14="http://schemas.microsoft.com/office/powerpoint/2010/main" val="23779588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5550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Timeline</a:t>
            </a:r>
          </a:p>
        </p:txBody>
      </p:sp>
      <p:sp>
        <p:nvSpPr>
          <p:cNvPr id="1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55600" y="685800"/>
            <a:ext cx="8458200" cy="55245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C0C0C0"/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000" dirty="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97515" y="1681672"/>
            <a:ext cx="808576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400" dirty="0"/>
              <a:t>Request approval from CMS at least three months prior to desired effective date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240341"/>
              </p:ext>
            </p:extLst>
          </p:nvPr>
        </p:nvGraphicFramePr>
        <p:xfrm>
          <a:off x="482997" y="2591413"/>
          <a:ext cx="7897210" cy="237884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3781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162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19676"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rget submission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arget</a:t>
                      </a:r>
                      <a:r>
                        <a:rPr lang="en-US" sz="2000" baseline="0" dirty="0"/>
                        <a:t> effective date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916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pril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hree (3) months after submission d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68724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209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031" y="256067"/>
            <a:ext cx="8618537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/>
              <a:t>Public Comment: </a:t>
            </a:r>
            <a:br>
              <a:rPr lang="en-US" sz="2800" dirty="0"/>
            </a:br>
            <a:r>
              <a:rPr lang="en-US" sz="2800" dirty="0"/>
              <a:t>TBI requests public input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86603" y="1492160"/>
            <a:ext cx="8147713" cy="492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Last day to submit comments: </a:t>
            </a:r>
            <a:r>
              <a:rPr lang="en-US" altLang="en-US" sz="2000" b="1" dirty="0"/>
              <a:t>April 1, 2021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Comments can be emailed to EOHHS: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>
                <a:hlinkClick r:id="rId7"/>
              </a:rPr>
              <a:t>HCBSWaivers@mass.gov</a:t>
            </a:r>
            <a:r>
              <a:rPr lang="en-US" altLang="en-US" sz="2000" dirty="0"/>
              <a:t> (Please state “TBI Comments” in the subject line) 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Application with the proposed amendments and this presentation are posted online: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>
                <a:hlinkClick r:id="rId8"/>
              </a:rPr>
              <a:t>https://www.mass.gov/info-details/home-and-community-based-services-waiver-renewal-and-amendment-applications-public</a:t>
            </a:r>
            <a:endParaRPr lang="en-US" altLang="en-US" sz="2000" dirty="0"/>
          </a:p>
          <a:p>
            <a:pPr lvl="1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/>
              <a:t>Hard copies of the application with proposed amendments available upon request. 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/>
              <a:t>Email request to </a:t>
            </a:r>
            <a:r>
              <a:rPr lang="en-US" altLang="en-US" sz="2000" dirty="0">
                <a:hlinkClick r:id="rId7"/>
              </a:rPr>
              <a:t>HCBSWaivers@mass.gov</a:t>
            </a:r>
            <a:r>
              <a:rPr lang="en-US" altLang="en-US" sz="2000" dirty="0"/>
              <a:t> (Please state “TBI Comments” in the subject line) </a:t>
            </a:r>
          </a:p>
        </p:txBody>
      </p:sp>
    </p:spTree>
    <p:extLst>
      <p:ext uri="{BB962C8B-B14F-4D97-AF65-F5344CB8AC3E}">
        <p14:creationId xmlns:p14="http://schemas.microsoft.com/office/powerpoint/2010/main" val="3473931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1 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Lauren Abel\AppData\Local\Temp\notesB98C6B\2015.01.22 Medicaid workshop 4_v2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7BzxmxkitXy2YaDDe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lides for February 2018 Listening Sessions_FINAL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hlink"/>
            </a:gs>
            <a:gs pos="100000">
              <a:schemeClr val="hlink">
                <a:gamma/>
                <a:shade val="46275"/>
                <a:invGamma/>
              </a:schemeClr>
            </a:gs>
          </a:gsLst>
          <a:lin ang="5400000" scaled="1"/>
        </a:gradFill>
        <a:ln>
          <a:noFill/>
        </a:ln>
        <a:effectLst>
          <a:prstShdw prst="shdw17" dist="17961" dir="2700000">
            <a:schemeClr val="hlink">
              <a:gamma/>
              <a:shade val="60000"/>
              <a:invGamma/>
              <a:alpha val="50000"/>
            </a:schemeClr>
          </a:prstShdw>
        </a:effectLst>
        <a:extLst>
          <a:ext uri="{91240B29-F687-4F45-9708-019B960494DF}">
            <a14:hiddenLine xmlns:a14="http://schemas.microsoft.com/office/drawing/2010/main" w="19050" algn="ctr">
              <a:solidFill>
                <a:schemeClr val="bg1"/>
              </a:solidFill>
              <a:miter lim="800000"/>
              <a:headEnd/>
              <a:tailEnd/>
            </a14:hiddenLine>
          </a:ext>
        </a:extLst>
      </a:spPr>
      <a:bodyPr wrap="none" anchor="ctr"/>
      <a:lstStyle>
        <a:defPPr>
          <a:defRPr sz="2000">
            <a:solidFill>
              <a:schemeClr val="bg1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for February 2018 Listening Sessions_FINAL</Template>
  <TotalTime>18268</TotalTime>
  <Words>655</Words>
  <Application>Microsoft Office PowerPoint</Application>
  <PresentationFormat>Custom</PresentationFormat>
  <Paragraphs>79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Arial</vt:lpstr>
      <vt:lpstr>Slides for February 2018 Listening Sessions_FINAL</vt:lpstr>
      <vt:lpstr>think-cell Slide</vt:lpstr>
      <vt:lpstr>EOHHS Listening Session</vt:lpstr>
      <vt:lpstr>Webex/Conference Call Logistics</vt:lpstr>
      <vt:lpstr>Agenda </vt:lpstr>
      <vt:lpstr>Common Acronyms and Terms</vt:lpstr>
      <vt:lpstr>Overview: Massachusetts is amending the Traumatic Brain Injury Waiver</vt:lpstr>
      <vt:lpstr>Summary of Changes to Waiver</vt:lpstr>
      <vt:lpstr>Process: HCBS Waiver Amendment</vt:lpstr>
      <vt:lpstr>Timeline</vt:lpstr>
      <vt:lpstr>Public Comment:  TBI requests public input</vt:lpstr>
      <vt:lpstr>Public Comment:  Oral Comment at Today’s Listening Se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OHHS Listening Session</dc:title>
  <dc:creator>Carolyn Sharzer</dc:creator>
  <cp:lastModifiedBy>Giacomini, Tainara G. (EHS)</cp:lastModifiedBy>
  <cp:revision>163</cp:revision>
  <cp:lastPrinted>2018-11-26T18:56:13Z</cp:lastPrinted>
  <dcterms:created xsi:type="dcterms:W3CDTF">2018-05-15T18:18:19Z</dcterms:created>
  <dcterms:modified xsi:type="dcterms:W3CDTF">2021-03-15T17:0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1/1/2013 12:30:02 PM</vt:lpwstr>
  </property>
  <property fmtid="{D5CDD505-2E9C-101B-9397-08002B2CF9AE}" pid="12" name="Office2010WasSaved">
    <vt:lpwstr>1</vt:lpwstr>
  </property>
</Properties>
</file>